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0879138" cy="5759450"/>
  <p:notesSz cx="6858000" cy="9144000"/>
  <p:custDataLst>
    <p:tags r:id="rId5"/>
  </p:custDataLst>
  <p:defaultTextStyle>
    <a:defPPr>
      <a:defRPr lang="en-GB"/>
    </a:defPPr>
    <a:lvl1pPr marL="0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313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468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625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781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938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200094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251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1815" userDrawn="1">
          <p15:clr>
            <a:srgbClr val="A4A3A4"/>
          </p15:clr>
        </p15:guide>
        <p15:guide id="8" pos="34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uwman, R. (Remke)" initials="RB" lastIdx="68" clrIdx="0">
    <p:extLst/>
  </p:cmAuthor>
  <p:cmAuthor id="2" name="CAV2" initials="C" lastIdx="5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FF6200"/>
    <a:srgbClr val="E9E9E9"/>
    <a:srgbClr val="A0CAE9"/>
    <a:srgbClr val="262626"/>
    <a:srgbClr val="D0D93C"/>
    <a:srgbClr val="AB0066"/>
    <a:srgbClr val="9393C6"/>
    <a:srgbClr val="CBCBCB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C07AF9EF-7F60-4BE2-B048-E21843C071CA}">
  <a:tblStyle styleId="{C07AF9EF-7F60-4BE2-B048-E21843C071CA}" styleName="ING Default Table">
    <a:tblBg>
      <a:effect>
        <a:effectLst/>
      </a:effect>
    </a:tblBg>
    <a:wholeTbl>
      <a:tcTxStyle b="off" i="off">
        <a:fontRef idx="minor"/>
        <a:srgbClr val="333333">
          <a:alpha val="100000"/>
        </a:srgbClr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0000">
              <a:solidFill>
                <a:srgbClr val="E1E1E1">
                  <a:alpha val="100000"/>
                </a:srgbClr>
              </a:solidFill>
            </a:ln>
          </a:bottom>
          <a:insideH>
            <a:ln w="10000">
              <a:solidFill>
                <a:srgbClr val="E1E1E1">
                  <a:alpha val="100000"/>
                </a:srgbClr>
              </a:solidFill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rgbClr val="FFFFFF">
              <a:alpha val="100000"/>
            </a:srgbClr>
          </a:solidFill>
        </a:fill>
      </a:tcStyle>
    </a:wholeTbl>
    <a:lastRow>
      <a:tcTxStyle b="off" i="off">
        <a:fontRef idx="minor"/>
        <a:srgbClr val="333333">
          <a:alpha val="100000"/>
        </a:srgbClr>
      </a:tcTxStyle>
      <a:tcStyle>
        <a:tcBdr/>
        <a:fill>
          <a:solidFill>
            <a:srgbClr val="E1E1E1">
              <a:alpha val="100000"/>
            </a:srgbClr>
          </a:solidFill>
        </a:fill>
      </a:tcStyle>
    </a:lastRow>
    <a:firstRow>
      <a:tcTxStyle b="off" i="off">
        <a:fontRef idx="minor"/>
        <a:srgbClr val="FFFFFF">
          <a:alpha val="100000"/>
        </a:srgbClr>
      </a:tcTxStyle>
      <a:tcStyle>
        <a:tcBdr/>
        <a:fill>
          <a:solidFill>
            <a:srgbClr val="FF6200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1" autoAdjust="0"/>
    <p:restoredTop sz="92620" autoAdjust="0"/>
  </p:normalViewPr>
  <p:slideViewPr>
    <p:cSldViewPr snapToGrid="0" showGuides="1">
      <p:cViewPr>
        <p:scale>
          <a:sx n="75" d="100"/>
          <a:sy n="75" d="100"/>
        </p:scale>
        <p:origin x="1046" y="739"/>
      </p:cViewPr>
      <p:guideLst>
        <p:guide orient="horz" pos="1815"/>
        <p:guide pos="3427"/>
      </p:guideLst>
    </p:cSldViewPr>
  </p:slideViewPr>
  <p:outlineViewPr>
    <p:cViewPr>
      <p:scale>
        <a:sx n="33" d="100"/>
        <a:sy n="33" d="100"/>
      </p:scale>
      <p:origin x="0" y="-42581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1272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04/12/2017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4966198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04/12/2017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38589"/>
            <a:ext cx="5486400" cy="474662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85799" y="8856661"/>
            <a:ext cx="4966199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514350" y="681038"/>
            <a:ext cx="58293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3" rtl="0" eaLnBrk="1" latinLnBrk="0" hangingPunct="1">
      <a:lnSpc>
        <a:spcPct val="110000"/>
      </a:lnSpc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74608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28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37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069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5781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8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94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51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376" userDrawn="1">
          <p15:clr>
            <a:srgbClr val="F26B43"/>
          </p15:clr>
        </p15:guide>
        <p15:guide id="2" orient="horz" pos="432" userDrawn="1">
          <p15:clr>
            <a:srgbClr val="F26B43"/>
          </p15:clr>
        </p15:guide>
        <p15:guide id="3" orient="horz" pos="2481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9" y="1379983"/>
            <a:ext cx="10118449" cy="2566422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28" y="1777723"/>
            <a:ext cx="9202659" cy="103093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3561407"/>
            <a:ext cx="6320048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6" y="2987059"/>
            <a:ext cx="9195937" cy="3235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4402363"/>
            <a:ext cx="1959530" cy="1107356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747941" y="5839442"/>
            <a:ext cx="0" cy="3023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690473" y="5839442"/>
            <a:ext cx="0" cy="3023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80730" y="550851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80730" y="5207501"/>
            <a:ext cx="32123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076737" y="5895468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344434" y="5262867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 dirty="0"/>
              <a:t>Min.</a:t>
            </a:r>
            <a:r>
              <a:rPr lang="en-GB" sz="892" baseline="0" dirty="0"/>
              <a:t> height</a:t>
            </a:r>
            <a:endParaRPr lang="en-GB" sz="892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-1344434" y="4448603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 dirty="0"/>
              <a:t>Max.</a:t>
            </a:r>
            <a:r>
              <a:rPr lang="en-GB" sz="892" baseline="0" dirty="0"/>
              <a:t> height</a:t>
            </a:r>
            <a:endParaRPr lang="en-GB" sz="892" dirty="0"/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6" y="3604073"/>
            <a:ext cx="2666245" cy="231463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5"/>
          </a:xfrm>
        </p:grpSpPr>
        <p:sp>
          <p:nvSpPr>
            <p:cNvPr id="78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79" name="Group 78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80" name="Rectangle 104"/>
              <p:cNvSpPr>
                <a:spLocks noChangeArrowheads="1"/>
              </p:cNvSpPr>
              <p:nvPr/>
            </p:nvSpPr>
            <p:spPr bwMode="gray">
              <a:xfrm>
                <a:off x="-2035175" y="4694552"/>
                <a:ext cx="1872000" cy="1035554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1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2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3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84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86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8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9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91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2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93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4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95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6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7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8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99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0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101" name="Picture 100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102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10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0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0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8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  <p15:guide id="2" orient="horz" pos="277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9" y="1379983"/>
            <a:ext cx="10118449" cy="2566422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28" y="1777723"/>
            <a:ext cx="9202659" cy="103093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3561407"/>
            <a:ext cx="6320048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6" y="2987059"/>
            <a:ext cx="9195937" cy="3235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6" y="3604073"/>
            <a:ext cx="2666245" cy="231463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9591678" y="-111775"/>
            <a:ext cx="1285854" cy="1314449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60A6DA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grpSp>
        <p:nvGrpSpPr>
          <p:cNvPr id="45" name="Group 44"/>
          <p:cNvGrpSpPr/>
          <p:nvPr userDrawn="1"/>
        </p:nvGrpSpPr>
        <p:grpSpPr>
          <a:xfrm>
            <a:off x="-1816022" y="1"/>
            <a:ext cx="1678875" cy="4347006"/>
            <a:chOff x="-2035175" y="0"/>
            <a:chExt cx="1881477" cy="5176147"/>
          </a:xfrm>
        </p:grpSpPr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7" name="Group 46"/>
            <p:cNvGrpSpPr/>
            <p:nvPr userDrawn="1"/>
          </p:nvGrpSpPr>
          <p:grpSpPr>
            <a:xfrm>
              <a:off x="-2035175" y="0"/>
              <a:ext cx="1872000" cy="5176147"/>
              <a:chOff x="-2035175" y="0"/>
              <a:chExt cx="1872000" cy="5730108"/>
            </a:xfrm>
          </p:grpSpPr>
          <p:sp>
            <p:nvSpPr>
              <p:cNvPr id="49" name="Rectangle 104"/>
              <p:cNvSpPr>
                <a:spLocks noChangeArrowheads="1"/>
              </p:cNvSpPr>
              <p:nvPr/>
            </p:nvSpPr>
            <p:spPr bwMode="gray">
              <a:xfrm>
                <a:off x="-2035175" y="4653097"/>
                <a:ext cx="1872000" cy="107701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0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2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3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4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5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6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5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7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6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9" name="Picture 88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0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8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5102850"/>
            <a:ext cx="2277290" cy="64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3" y="1379986"/>
            <a:ext cx="5272991" cy="255774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2" y="1689953"/>
            <a:ext cx="4352697" cy="122747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2" y="3385697"/>
            <a:ext cx="4352697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2" y="3026260"/>
            <a:ext cx="4352697" cy="244144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3679984"/>
            <a:ext cx="4352726" cy="1814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9591678" y="-111775"/>
            <a:ext cx="1285854" cy="1314449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60A6DA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834" y="5"/>
            <a:ext cx="10881971" cy="5059782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9" name="Group 48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0" name="Rectangle 104"/>
              <p:cNvSpPr>
                <a:spLocks noChangeArrowheads="1"/>
              </p:cNvSpPr>
              <p:nvPr/>
            </p:nvSpPr>
            <p:spPr bwMode="gray">
              <a:xfrm>
                <a:off x="-2035175" y="4684343"/>
                <a:ext cx="1872000" cy="1045764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2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4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5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6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1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3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5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6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7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69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1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2" name="Picture 91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5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6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0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5102850"/>
            <a:ext cx="2277290" cy="64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21867" y="1008744"/>
            <a:ext cx="9993602" cy="4198784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606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754522" y="1114560"/>
            <a:ext cx="9359678" cy="3990800"/>
          </a:xfrm>
          <a:prstGeom prst="rect">
            <a:avLst/>
          </a:prstGeom>
        </p:spPr>
        <p:txBody>
          <a:bodyPr>
            <a:noAutofit/>
          </a:bodyPr>
          <a:lstStyle>
            <a:lvl1pPr marL="385469" marR="0" indent="-385469" algn="l" defTabSz="815889" rtl="0" eaLnBrk="1" fontAlgn="auto" latinLnBrk="0" hangingPunct="1">
              <a:lnSpc>
                <a:spcPts val="1963"/>
              </a:lnSpc>
              <a:spcBef>
                <a:spcPts val="178"/>
              </a:spcBef>
              <a:spcAft>
                <a:spcPts val="714"/>
              </a:spcAft>
              <a:buClrTx/>
              <a:buSzTx/>
              <a:buFont typeface="+mj-lt"/>
              <a:buAutoNum type="arabicPeriod"/>
              <a:tabLst>
                <a:tab pos="317290" algn="l"/>
              </a:tabLst>
              <a:defRPr sz="1785" b="0"/>
            </a:lvl1pPr>
            <a:lvl2pPr>
              <a:defRPr sz="1785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21867" y="1008744"/>
            <a:ext cx="9993602" cy="4198784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606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754529" y="1114560"/>
            <a:ext cx="5342329" cy="3990800"/>
          </a:xfrm>
          <a:prstGeom prst="rect">
            <a:avLst/>
          </a:prstGeom>
        </p:spPr>
        <p:txBody>
          <a:bodyPr>
            <a:noAutofit/>
          </a:bodyPr>
          <a:lstStyle>
            <a:lvl1pPr marL="385469" marR="0" indent="-385469" algn="l" defTabSz="815889" rtl="0" eaLnBrk="1" fontAlgn="auto" latinLnBrk="0" hangingPunct="1">
              <a:lnSpc>
                <a:spcPts val="1963"/>
              </a:lnSpc>
              <a:spcBef>
                <a:spcPts val="178"/>
              </a:spcBef>
              <a:spcAft>
                <a:spcPts val="714"/>
              </a:spcAft>
              <a:buClrTx/>
              <a:buSzTx/>
              <a:buFont typeface="+mj-lt"/>
              <a:buAutoNum type="arabicPeriod"/>
              <a:tabLst>
                <a:tab pos="317290" algn="l"/>
              </a:tabLst>
              <a:defRPr sz="1785" b="0"/>
            </a:lvl1pPr>
            <a:lvl2pPr>
              <a:defRPr sz="1785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510483" y="1008745"/>
            <a:ext cx="4104986" cy="4198781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4" userDrawn="1">
          <p15:clr>
            <a:srgbClr val="FBAE40"/>
          </p15:clr>
        </p15:guide>
        <p15:guide id="2" pos="410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423867"/>
            <a:ext cx="10128520" cy="2000682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</a:bodyPr>
          <a:lstStyle/>
          <a:p>
            <a:endParaRPr lang="en-GB" sz="1606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751728" y="1423870"/>
            <a:ext cx="9202659" cy="198914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710" y="5339600"/>
            <a:ext cx="1055836" cy="247415"/>
          </a:xfrm>
          <a:prstGeom prst="rect">
            <a:avLst/>
          </a:prstGeom>
        </p:spPr>
      </p:pic>
      <p:grpSp>
        <p:nvGrpSpPr>
          <p:cNvPr id="56" name="Group 55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6"/>
          </a:xfrm>
        </p:grpSpPr>
        <p:sp>
          <p:nvSpPr>
            <p:cNvPr id="57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8" name="Group 57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9" name="Rectangle 104"/>
              <p:cNvSpPr>
                <a:spLocks noChangeArrowheads="1"/>
              </p:cNvSpPr>
              <p:nvPr/>
            </p:nvSpPr>
            <p:spPr bwMode="gray">
              <a:xfrm>
                <a:off x="-2035175" y="4679072"/>
                <a:ext cx="1872000" cy="1051035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1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63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5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6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7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7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86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8" name="Picture 87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8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3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21867" y="1424931"/>
            <a:ext cx="9993602" cy="3782593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47948" y="216444"/>
            <a:ext cx="9868427" cy="99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105"/>
              </a:lnSpc>
              <a:defRPr sz="4105"/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710" y="5339600"/>
            <a:ext cx="1055836" cy="247415"/>
          </a:xfrm>
          <a:prstGeom prst="rect">
            <a:avLst/>
          </a:prstGeom>
        </p:spPr>
      </p:pic>
      <p:grpSp>
        <p:nvGrpSpPr>
          <p:cNvPr id="35" name="Group 34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6"/>
          </a:xfrm>
        </p:grpSpPr>
        <p:sp>
          <p:nvSpPr>
            <p:cNvPr id="36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39" name="Rectangle 104"/>
              <p:cNvSpPr>
                <a:spLocks noChangeArrowheads="1"/>
              </p:cNvSpPr>
              <p:nvPr/>
            </p:nvSpPr>
            <p:spPr bwMode="gray">
              <a:xfrm>
                <a:off x="-2035175" y="4653095"/>
                <a:ext cx="1872000" cy="1077012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0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1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2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43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4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45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6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4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4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5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5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5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8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0" name="Picture 89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1073607"/>
            <a:ext cx="4514013" cy="413289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073607"/>
            <a:ext cx="4513343" cy="41328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1508005"/>
            <a:ext cx="4514013" cy="369850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508005"/>
            <a:ext cx="4513343" cy="3698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29" y="1073272"/>
            <a:ext cx="4515061" cy="3661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99146" y="1073272"/>
            <a:ext cx="4515061" cy="3661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1073287"/>
            <a:ext cx="4514013" cy="413993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508005"/>
            <a:ext cx="4513343" cy="3698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29" y="1073272"/>
            <a:ext cx="4515061" cy="3661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1508005"/>
            <a:ext cx="4514013" cy="369850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073287"/>
            <a:ext cx="4513343" cy="4139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99146" y="1073272"/>
            <a:ext cx="4515061" cy="3661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19330"/>
              </p:ext>
            </p:extLst>
          </p:nvPr>
        </p:nvGraphicFramePr>
        <p:xfrm>
          <a:off x="1422" y="1336"/>
          <a:ext cx="1416" cy="1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2" y="1336"/>
                        <a:ext cx="1416" cy="13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073608"/>
            <a:ext cx="9350619" cy="41338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39390" indent="-239390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478781" indent="-237974">
              <a:buClr>
                <a:schemeClr val="accent2"/>
              </a:buClr>
              <a:defRPr/>
            </a:lvl3pPr>
            <a:lvl4pPr marL="721003" indent="-232308">
              <a:buClr>
                <a:schemeClr val="accent3"/>
              </a:buClr>
              <a:defRPr/>
            </a:lvl4pPr>
            <a:lvl5pPr marL="956144" indent="-225225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859" y="1073285"/>
            <a:ext cx="4513343" cy="195691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754525" y="1073285"/>
            <a:ext cx="4513343" cy="19569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600859" y="3256459"/>
            <a:ext cx="4513343" cy="195691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754525" y="3256459"/>
            <a:ext cx="4513343" cy="19569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0" pos="3523" userDrawn="1">
          <p15:clr>
            <a:srgbClr val="FBAE40"/>
          </p15:clr>
        </p15:guide>
        <p15:guide id="2" orient="horz" pos="1911" userDrawn="1">
          <p15:clr>
            <a:srgbClr val="FBAE40"/>
          </p15:clr>
        </p15:guide>
        <p15:guide id="3" orient="horz" pos="205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755710" y="1073610"/>
            <a:ext cx="2913596" cy="19560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978156" y="1073610"/>
            <a:ext cx="2913596" cy="19560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7200604" y="1073610"/>
            <a:ext cx="2913596" cy="19560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755711" y="3262055"/>
            <a:ext cx="2913596" cy="19560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978157" y="3262055"/>
            <a:ext cx="2913596" cy="19560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7200604" y="3262055"/>
            <a:ext cx="2913596" cy="19560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12" userDrawn="1">
          <p15:clr>
            <a:srgbClr val="FBAE40"/>
          </p15:clr>
        </p15:guide>
        <p15:guide id="2" pos="2506" userDrawn="1">
          <p15:clr>
            <a:srgbClr val="FBAE40"/>
          </p15:clr>
        </p15:guide>
        <p15:guide id="3" pos="4343" userDrawn="1">
          <p15:clr>
            <a:srgbClr val="FBAE40"/>
          </p15:clr>
        </p15:guide>
        <p15:guide id="4" pos="4536" userDrawn="1">
          <p15:clr>
            <a:srgbClr val="FBAE40"/>
          </p15:clr>
        </p15:guide>
        <p15:guide id="5" orient="horz" pos="1911" userDrawn="1">
          <p15:clr>
            <a:srgbClr val="FBAE40"/>
          </p15:clr>
        </p15:guide>
        <p15:guide id="6" orient="horz" pos="205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755710" y="1508005"/>
            <a:ext cx="2913596" cy="22649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978156" y="1508005"/>
            <a:ext cx="2913596" cy="22649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7200604" y="1508005"/>
            <a:ext cx="2913596" cy="22649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755711" y="3998137"/>
            <a:ext cx="2913596" cy="12093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978157" y="3998137"/>
            <a:ext cx="2913596" cy="12093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7200604" y="3998137"/>
            <a:ext cx="2913596" cy="12093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22" y="1073272"/>
            <a:ext cx="2913596" cy="3661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78156" y="1073272"/>
            <a:ext cx="2913596" cy="366175"/>
          </a:xfrm>
          <a:prstGeom prst="rect">
            <a:avLst/>
          </a:prstGeom>
        </p:spPr>
        <p:txBody>
          <a:bodyPr/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7200604" y="1073272"/>
            <a:ext cx="2913596" cy="366175"/>
          </a:xfrm>
          <a:prstGeom prst="rect">
            <a:avLst/>
          </a:prstGeom>
        </p:spPr>
        <p:txBody>
          <a:bodyPr/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506" userDrawn="1">
          <p15:clr>
            <a:srgbClr val="FBAE40"/>
          </p15:clr>
        </p15:guide>
        <p15:guide id="3" pos="4343" userDrawn="1">
          <p15:clr>
            <a:srgbClr val="FBAE40"/>
          </p15:clr>
        </p15:guide>
        <p15:guide id="4" pos="4536" userDrawn="1">
          <p15:clr>
            <a:srgbClr val="FBAE40"/>
          </p15:clr>
        </p15:guide>
        <p15:guide id="5" orient="horz" pos="2376" userDrawn="1">
          <p15:clr>
            <a:srgbClr val="FBAE40"/>
          </p15:clr>
        </p15:guide>
        <p15:guide id="6" orient="horz" pos="2519" userDrawn="1">
          <p15:clr>
            <a:srgbClr val="FBAE40"/>
          </p15:clr>
        </p15:guide>
        <p15:guide id="7" pos="231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754525" y="1074951"/>
            <a:ext cx="4513343" cy="272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754525" y="1473510"/>
            <a:ext cx="4513343" cy="1557014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54525" y="3256462"/>
            <a:ext cx="4513343" cy="272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754525" y="3650490"/>
            <a:ext cx="4513343" cy="1557014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754525" y="1413323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754525" y="3593409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600859" y="1074951"/>
            <a:ext cx="4513343" cy="272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600859" y="1473510"/>
            <a:ext cx="4513343" cy="1557014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600859" y="3256462"/>
            <a:ext cx="4513343" cy="272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600859" y="3650490"/>
            <a:ext cx="4513343" cy="1557014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600859" y="1413323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600859" y="3593409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319" userDrawn="1">
          <p15:clr>
            <a:srgbClr val="FBAE40"/>
          </p15:clr>
        </p15:guide>
        <p15:guide id="3" pos="3527" userDrawn="1">
          <p15:clr>
            <a:srgbClr val="FBAE40"/>
          </p15:clr>
        </p15:guide>
        <p15:guide id="4" orient="horz" pos="1911" userDrawn="1">
          <p15:clr>
            <a:srgbClr val="FBAE40"/>
          </p15:clr>
        </p15:guide>
        <p15:guide id="5" orient="horz" pos="205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754522" y="1073609"/>
            <a:ext cx="2913596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754522" y="1475792"/>
            <a:ext cx="2913596" cy="1553914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54522" y="3257283"/>
            <a:ext cx="2913596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754522" y="3650494"/>
            <a:ext cx="2913596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754522" y="1415605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754522" y="3593409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7200604" y="1073609"/>
            <a:ext cx="2913596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200604" y="1475792"/>
            <a:ext cx="2913596" cy="1553914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200604" y="3257283"/>
            <a:ext cx="2913596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200604" y="3650494"/>
            <a:ext cx="2913596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7200604" y="1415605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7200604" y="3593409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977563" y="1073609"/>
            <a:ext cx="2913596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977563" y="1475792"/>
            <a:ext cx="2913596" cy="1553914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977563" y="3257283"/>
            <a:ext cx="2913596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977563" y="3650494"/>
            <a:ext cx="2913596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977563" y="1415605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977563" y="3593409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313" userDrawn="1">
          <p15:clr>
            <a:srgbClr val="FBAE40"/>
          </p15:clr>
        </p15:guide>
        <p15:guide id="3" pos="4536" userDrawn="1">
          <p15:clr>
            <a:srgbClr val="FBAE40"/>
          </p15:clr>
        </p15:guide>
        <p15:guide id="4" pos="2501" userDrawn="1">
          <p15:clr>
            <a:srgbClr val="FBAE40"/>
          </p15:clr>
        </p15:guide>
        <p15:guide id="5" pos="4343" userDrawn="1">
          <p15:clr>
            <a:srgbClr val="FBAE40"/>
          </p15:clr>
        </p15:guide>
        <p15:guide id="6" orient="horz" pos="1911" userDrawn="1">
          <p15:clr>
            <a:srgbClr val="FBAE40"/>
          </p15:clr>
        </p15:guide>
        <p15:guide id="7" orient="horz" pos="205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4531" y="235766"/>
            <a:ext cx="935967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754522" y="1073609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754522" y="1475795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54522" y="3257283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754522" y="3650494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754522" y="1415605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754522" y="3593409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114158" y="1073609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114158" y="1475795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114158" y="3257283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114158" y="3650494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114158" y="1415605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114158" y="3593409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5473798" y="1073609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5473798" y="1475795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5473798" y="3257283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5473798" y="3650494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5473798" y="1415605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5473798" y="3593409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833435" y="1073609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833435" y="1475795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833435" y="3257283"/>
            <a:ext cx="2280764" cy="27210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833435" y="3650494"/>
            <a:ext cx="2280764" cy="155399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833435" y="1415605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833435" y="3593409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918" userDrawn="1">
          <p15:clr>
            <a:srgbClr val="FBAE40"/>
          </p15:clr>
        </p15:guide>
        <p15:guide id="4" pos="4890" userDrawn="1">
          <p15:clr>
            <a:srgbClr val="FBAE40"/>
          </p15:clr>
        </p15:guide>
        <p15:guide id="5" pos="3448" userDrawn="1">
          <p15:clr>
            <a:srgbClr val="FBAE40"/>
          </p15:clr>
        </p15:guide>
        <p15:guide id="6" pos="1960" userDrawn="1">
          <p15:clr>
            <a:srgbClr val="FBAE40"/>
          </p15:clr>
        </p15:guide>
        <p15:guide id="7" pos="3399" userDrawn="1">
          <p15:clr>
            <a:srgbClr val="FBAE40"/>
          </p15:clr>
        </p15:guide>
        <p15:guide id="8" pos="4933" userDrawn="1">
          <p15:clr>
            <a:srgbClr val="FBAE40"/>
          </p15:clr>
        </p15:guide>
        <p15:guide id="9" orient="horz" pos="1911" userDrawn="1">
          <p15:clr>
            <a:srgbClr val="FBAE40"/>
          </p15:clr>
        </p15:guide>
        <p15:guide id="10" orient="horz" pos="205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057840" y="1066569"/>
            <a:ext cx="6056360" cy="41809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19042" y="235767"/>
            <a:ext cx="3072506" cy="4971759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7842" y="235766"/>
            <a:ext cx="6056360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48" userDrawn="1">
          <p15:clr>
            <a:srgbClr val="FBAE40"/>
          </p15:clr>
        </p15:guide>
        <p15:guide id="2" pos="233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747941" y="1066569"/>
            <a:ext cx="6055268" cy="41809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7543861" y="235767"/>
            <a:ext cx="3071608" cy="4971759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54531" y="235766"/>
            <a:ext cx="6048687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89" userDrawn="1">
          <p15:clr>
            <a:srgbClr val="FBAE40"/>
          </p15:clr>
        </p15:guide>
        <p15:guide id="2" pos="475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21867" y="1008745"/>
            <a:ext cx="9993602" cy="4198781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21867" y="235766"/>
            <a:ext cx="9993602" cy="4971759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508004"/>
            <a:ext cx="9350619" cy="3699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39390" indent="-239390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478781" indent="-237974">
              <a:buClr>
                <a:schemeClr val="accent2"/>
              </a:buClr>
              <a:defRPr/>
            </a:lvl3pPr>
            <a:lvl4pPr marL="721003" indent="-232308">
              <a:buClr>
                <a:schemeClr val="accent3"/>
              </a:buClr>
              <a:defRPr/>
            </a:lvl4pPr>
            <a:lvl5pPr marL="956144" indent="-225225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25" y="1073272"/>
            <a:ext cx="9350619" cy="3661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19038" y="1423865"/>
            <a:ext cx="9495689" cy="2209481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</a:bodyPr>
          <a:lstStyle/>
          <a:p>
            <a:endParaRPr lang="en-GB" sz="1606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045931" y="1423870"/>
            <a:ext cx="9068268" cy="198914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grpSp>
        <p:nvGrpSpPr>
          <p:cNvPr id="36" name="Group 35"/>
          <p:cNvGrpSpPr/>
          <p:nvPr userDrawn="1"/>
        </p:nvGrpSpPr>
        <p:grpSpPr>
          <a:xfrm>
            <a:off x="-1807565" y="5343495"/>
            <a:ext cx="1657262" cy="419960"/>
            <a:chOff x="-2025698" y="6445247"/>
            <a:chExt cx="1857255" cy="417516"/>
          </a:xfrm>
        </p:grpSpPr>
        <p:sp>
          <p:nvSpPr>
            <p:cNvPr id="37" name="Rectangle 104"/>
            <p:cNvSpPr>
              <a:spLocks noChangeArrowheads="1"/>
            </p:cNvSpPr>
            <p:nvPr userDrawn="1"/>
          </p:nvSpPr>
          <p:spPr bwMode="gray">
            <a:xfrm>
              <a:off x="-2025698" y="6445247"/>
              <a:ext cx="1447848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815909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GB" sz="1071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GB" sz="1071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GB" sz="1071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</a:p>
          </p:txBody>
        </p:sp>
        <p:grpSp>
          <p:nvGrpSpPr>
            <p:cNvPr id="38" name="Group 3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39" name="Straight Connector 3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40" name="Straight Connector 3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grpSp>
        <p:nvGrpSpPr>
          <p:cNvPr id="58" name="Group 57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5"/>
          </a:xfrm>
        </p:grpSpPr>
        <p:sp>
          <p:nvSpPr>
            <p:cNvPr id="59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60" name="Group 59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61" name="Rectangle 104"/>
              <p:cNvSpPr>
                <a:spLocks noChangeArrowheads="1"/>
              </p:cNvSpPr>
              <p:nvPr/>
            </p:nvSpPr>
            <p:spPr bwMode="gray">
              <a:xfrm>
                <a:off x="-2035175" y="4672569"/>
                <a:ext cx="1872000" cy="1057537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3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65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6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7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7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72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84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86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8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90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1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5" name="Picture 94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6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7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0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0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2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5" y="1073608"/>
            <a:ext cx="9350619" cy="41338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9390" indent="-239390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480197" indent="-239390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718170" indent="-237974">
              <a:buClr>
                <a:schemeClr val="accent3"/>
              </a:buClr>
              <a:defRPr/>
            </a:lvl3pPr>
            <a:lvl4pPr marL="961810" indent="-232308">
              <a:buClr>
                <a:schemeClr val="accent4"/>
              </a:buClr>
              <a:defRPr/>
            </a:lvl4pPr>
            <a:lvl5pPr marL="1196951" indent="-225225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5" y="235766"/>
            <a:ext cx="9350619" cy="7172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47945" y="5457122"/>
            <a:ext cx="441965" cy="157985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3" y="1379986"/>
            <a:ext cx="5272991" cy="255774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2" y="1689953"/>
            <a:ext cx="4352697" cy="122747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2" y="3385697"/>
            <a:ext cx="4352697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2" y="3026260"/>
            <a:ext cx="4352697" cy="244144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5085246"/>
            <a:ext cx="1959530" cy="423267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690473" y="5839442"/>
            <a:ext cx="0" cy="3023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80730" y="5207501"/>
            <a:ext cx="3212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076737" y="5895468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344434" y="5262867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ax.</a:t>
            </a:r>
            <a:r>
              <a:rPr lang="en-GB" sz="892" baseline="0"/>
              <a:t> height</a:t>
            </a:r>
            <a:endParaRPr lang="en-GB" sz="892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747941" y="5839442"/>
            <a:ext cx="0" cy="3023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80730" y="550851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3679984"/>
            <a:ext cx="4352726" cy="1814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834" y="5"/>
            <a:ext cx="10881971" cy="5059782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6"/>
          </a:xfrm>
        </p:grpSpPr>
        <p:sp>
          <p:nvSpPr>
            <p:cNvPr id="53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4" name="Group 53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5" name="Rectangle 104"/>
              <p:cNvSpPr>
                <a:spLocks noChangeArrowheads="1"/>
              </p:cNvSpPr>
              <p:nvPr/>
            </p:nvSpPr>
            <p:spPr bwMode="gray">
              <a:xfrm>
                <a:off x="-2035175" y="4686980"/>
                <a:ext cx="1872000" cy="1043127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6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9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1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7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7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7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7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0" name="Picture 79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8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8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8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9" y="1379983"/>
            <a:ext cx="10118449" cy="2566422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28" y="1777723"/>
            <a:ext cx="9202659" cy="103093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3561407"/>
            <a:ext cx="6320048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6" y="2987059"/>
            <a:ext cx="9195937" cy="3235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4402364"/>
            <a:ext cx="1959530" cy="1106151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690473" y="5839442"/>
            <a:ext cx="0" cy="3023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80730" y="5207501"/>
            <a:ext cx="32123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076737" y="5895468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344434" y="5262867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in.</a:t>
            </a:r>
            <a:r>
              <a:rPr lang="en-GB" sz="892" baseline="0"/>
              <a:t> height</a:t>
            </a:r>
            <a:endParaRPr lang="en-GB" sz="892"/>
          </a:p>
        </p:txBody>
      </p:sp>
      <p:sp>
        <p:nvSpPr>
          <p:cNvPr id="32" name="TextBox 31"/>
          <p:cNvSpPr txBox="1"/>
          <p:nvPr userDrawn="1"/>
        </p:nvSpPr>
        <p:spPr>
          <a:xfrm>
            <a:off x="-1344434" y="4448603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ax.</a:t>
            </a:r>
            <a:r>
              <a:rPr lang="en-GB" sz="892" baseline="0"/>
              <a:t> height</a:t>
            </a:r>
            <a:endParaRPr lang="en-GB" sz="892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747941" y="5839442"/>
            <a:ext cx="0" cy="3023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80730" y="550851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6" y="3604073"/>
            <a:ext cx="2666245" cy="231463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9591678" y="-111775"/>
            <a:ext cx="1285854" cy="1314449"/>
            <a:chOff x="5364088" y="4720073"/>
            <a:chExt cx="1441027" cy="1565166"/>
          </a:xfrm>
        </p:grpSpPr>
        <p:sp>
          <p:nvSpPr>
            <p:cNvPr id="5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60A6DA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80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5"/>
          </a:xfrm>
        </p:grpSpPr>
        <p:sp>
          <p:nvSpPr>
            <p:cNvPr id="54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5" name="Group 54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81" name="Rectangle 104"/>
              <p:cNvSpPr>
                <a:spLocks noChangeArrowheads="1"/>
              </p:cNvSpPr>
              <p:nvPr/>
            </p:nvSpPr>
            <p:spPr bwMode="gray">
              <a:xfrm>
                <a:off x="-2035175" y="4672310"/>
                <a:ext cx="1872000" cy="1057796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2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3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4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85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6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87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8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8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9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92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3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94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5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96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9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00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1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10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110" name="Picture 109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11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1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11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1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1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1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1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  <p15:guide id="2" orient="horz" pos="277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3" y="1379986"/>
            <a:ext cx="5272991" cy="255774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2" y="1689953"/>
            <a:ext cx="4352697" cy="122747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2" y="3385697"/>
            <a:ext cx="4352697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2" y="3026260"/>
            <a:ext cx="4352697" cy="244144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5085246"/>
            <a:ext cx="1959530" cy="423267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690473" y="5839442"/>
            <a:ext cx="0" cy="3023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80730" y="5207501"/>
            <a:ext cx="3212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076737" y="5895468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344434" y="5262867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ax.</a:t>
            </a:r>
            <a:r>
              <a:rPr lang="en-GB" sz="892" baseline="0"/>
              <a:t> height</a:t>
            </a:r>
            <a:endParaRPr lang="en-GB" sz="892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747941" y="5839442"/>
            <a:ext cx="0" cy="3023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80730" y="550851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3679984"/>
            <a:ext cx="4352726" cy="1814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9591678" y="-111775"/>
            <a:ext cx="1285854" cy="1314449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834" y="5"/>
            <a:ext cx="10881971" cy="5059782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6"/>
          </a:xfrm>
        </p:grpSpPr>
        <p:sp>
          <p:nvSpPr>
            <p:cNvPr id="53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5" name="Group 54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6" name="Rectangle 104"/>
              <p:cNvSpPr>
                <a:spLocks noChangeArrowheads="1"/>
              </p:cNvSpPr>
              <p:nvPr/>
            </p:nvSpPr>
            <p:spPr bwMode="gray">
              <a:xfrm>
                <a:off x="-2035175" y="4679072"/>
                <a:ext cx="1872000" cy="1051035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9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60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1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2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3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7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9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0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1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2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3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4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75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6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77" name="Picture 76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7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82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8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8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9" y="1379983"/>
            <a:ext cx="10118449" cy="2566422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28" y="1777723"/>
            <a:ext cx="9202659" cy="103093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3561407"/>
            <a:ext cx="6320048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6" y="2987059"/>
            <a:ext cx="9195937" cy="3235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6" y="3604073"/>
            <a:ext cx="2666245" cy="231463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5"/>
          </a:xfrm>
        </p:grpSpPr>
        <p:sp>
          <p:nvSpPr>
            <p:cNvPr id="43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5" name="Group 44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46" name="Rectangle 104"/>
              <p:cNvSpPr>
                <a:spLocks noChangeArrowheads="1"/>
              </p:cNvSpPr>
              <p:nvPr/>
            </p:nvSpPr>
            <p:spPr bwMode="gray">
              <a:xfrm>
                <a:off x="-2035175" y="4673798"/>
                <a:ext cx="1872000" cy="105630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7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8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9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0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2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5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57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59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1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3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65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4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5" name="Picture 84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8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0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1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2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3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5102850"/>
            <a:ext cx="2277290" cy="64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3" y="1379986"/>
            <a:ext cx="5272991" cy="255774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2" y="1689953"/>
            <a:ext cx="4352697" cy="122747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2" y="3385697"/>
            <a:ext cx="4352697" cy="25765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2" y="3026260"/>
            <a:ext cx="4352697" cy="244144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5059786"/>
            <a:ext cx="10877526" cy="699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5210026"/>
            <a:ext cx="1354714" cy="317451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3679984"/>
            <a:ext cx="4352726" cy="1814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834" y="5"/>
            <a:ext cx="10881971" cy="5059782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-1816022" y="1"/>
            <a:ext cx="1678875" cy="4347006"/>
            <a:chOff x="-2035175" y="0"/>
            <a:chExt cx="1881477" cy="5176147"/>
          </a:xfrm>
        </p:grpSpPr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5" name="Group 44"/>
            <p:cNvGrpSpPr/>
            <p:nvPr userDrawn="1"/>
          </p:nvGrpSpPr>
          <p:grpSpPr>
            <a:xfrm>
              <a:off x="-2035175" y="0"/>
              <a:ext cx="1872000" cy="5176147"/>
              <a:chOff x="-2035175" y="0"/>
              <a:chExt cx="1872000" cy="5730108"/>
            </a:xfrm>
          </p:grpSpPr>
          <p:sp>
            <p:nvSpPr>
              <p:cNvPr id="46" name="Rectangle 104"/>
              <p:cNvSpPr>
                <a:spLocks noChangeArrowheads="1"/>
              </p:cNvSpPr>
              <p:nvPr/>
            </p:nvSpPr>
            <p:spPr bwMode="gray">
              <a:xfrm>
                <a:off x="-2035175" y="4653097"/>
                <a:ext cx="1872000" cy="107701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7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8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9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0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2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5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57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59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1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3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86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0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1" name="Picture 90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2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8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64" name="Picture 6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5102850"/>
            <a:ext cx="2277290" cy="64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7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57781598"/>
              </p:ext>
            </p:extLst>
          </p:nvPr>
        </p:nvGraphicFramePr>
        <p:xfrm>
          <a:off x="1422" y="1336"/>
          <a:ext cx="1416" cy="1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36" imgW="216" imgH="216" progId="TCLayout.ActiveDocument.1">
                  <p:embed/>
                </p:oleObj>
              </mc:Choice>
              <mc:Fallback>
                <p:oleObj name="think-cell Slide" r:id="rId3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422" y="1336"/>
                        <a:ext cx="1416" cy="13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/>
          <p:cNvGrpSpPr/>
          <p:nvPr userDrawn="1"/>
        </p:nvGrpSpPr>
        <p:grpSpPr>
          <a:xfrm>
            <a:off x="-1807565" y="5343495"/>
            <a:ext cx="1657262" cy="419960"/>
            <a:chOff x="-2025698" y="6445247"/>
            <a:chExt cx="1857255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25698" y="6445247"/>
              <a:ext cx="1447848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815909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GB" sz="1071" b="1" i="0" u="none" strike="noStrike" kern="0" cap="none" spc="0" normalizeH="0" baseline="0" noProof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GB" sz="1071" b="1" i="0" u="none" strike="noStrike" kern="0" cap="none" spc="0" normalizeH="0" baseline="0" noProof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GB" sz="1071" b="1" i="0" u="none" strike="noStrike" kern="0" cap="none" spc="0" normalizeH="0" baseline="0" noProof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grpSp>
        <p:nvGrpSpPr>
          <p:cNvPr id="6" name="Group 5"/>
          <p:cNvGrpSpPr/>
          <p:nvPr userDrawn="1"/>
        </p:nvGrpSpPr>
        <p:grpSpPr>
          <a:xfrm>
            <a:off x="-1816022" y="4"/>
            <a:ext cx="1678875" cy="4347003"/>
            <a:chOff x="-2035175" y="0"/>
            <a:chExt cx="1881477" cy="5176145"/>
          </a:xfrm>
        </p:grpSpPr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4" name="Group 53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55" name="Rectangle 104"/>
              <p:cNvSpPr>
                <a:spLocks noChangeArrowheads="1"/>
              </p:cNvSpPr>
              <p:nvPr/>
            </p:nvSpPr>
            <p:spPr bwMode="gray">
              <a:xfrm>
                <a:off x="-2035175" y="4672569"/>
                <a:ext cx="1872000" cy="1057537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6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9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1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6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7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8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9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0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1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2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74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5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76" name="Picture 75"/>
              <p:cNvPicPr>
                <a:picLocks noChangeAspect="1"/>
              </p:cNvPicPr>
              <p:nvPr userDrawn="1"/>
            </p:nvPicPr>
            <p:blipFill>
              <a:blip r:embed="rId3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7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7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82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83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25" r:id="rId5"/>
    <p:sldLayoutId id="2147483727" r:id="rId6"/>
    <p:sldLayoutId id="2147483728" r:id="rId7"/>
    <p:sldLayoutId id="2147483732" r:id="rId8"/>
    <p:sldLayoutId id="2147483733" r:id="rId9"/>
    <p:sldLayoutId id="2147483734" r:id="rId10"/>
    <p:sldLayoutId id="2147483735" r:id="rId11"/>
    <p:sldLayoutId id="2147483692" r:id="rId12"/>
    <p:sldLayoutId id="2147483711" r:id="rId13"/>
    <p:sldLayoutId id="2147483694" r:id="rId14"/>
    <p:sldLayoutId id="2147483695" r:id="rId15"/>
    <p:sldLayoutId id="2147483696" r:id="rId16"/>
    <p:sldLayoutId id="2147483736" r:id="rId17"/>
    <p:sldLayoutId id="2147483738" r:id="rId18"/>
    <p:sldLayoutId id="2147483739" r:id="rId19"/>
    <p:sldLayoutId id="2147483731" r:id="rId20"/>
    <p:sldLayoutId id="2147483697" r:id="rId21"/>
    <p:sldLayoutId id="2147483740" r:id="rId22"/>
    <p:sldLayoutId id="2147483716" r:id="rId23"/>
    <p:sldLayoutId id="2147483718" r:id="rId24"/>
    <p:sldLayoutId id="2147483719" r:id="rId25"/>
    <p:sldLayoutId id="2147483700" r:id="rId26"/>
    <p:sldLayoutId id="2147483743" r:id="rId27"/>
    <p:sldLayoutId id="2147483742" r:id="rId28"/>
    <p:sldLayoutId id="2147483741" r:id="rId29"/>
    <p:sldLayoutId id="2147483702" r:id="rId30"/>
    <p:sldLayoutId id="2147483706" r:id="rId31"/>
    <p:sldLayoutId id="2147483726" r:id="rId3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5909" rtl="0" eaLnBrk="1" latinLnBrk="0" hangingPunct="1">
        <a:lnSpc>
          <a:spcPts val="2498"/>
        </a:lnSpc>
        <a:spcBef>
          <a:spcPct val="0"/>
        </a:spcBef>
        <a:buNone/>
        <a:defRPr sz="2498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785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37974" indent="-237974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457533" indent="-232308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679925" indent="-225225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243750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6pPr>
      <a:lvl7pPr marL="2651705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7pPr>
      <a:lvl8pPr marL="3059659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8pPr>
      <a:lvl9pPr marL="3467613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605" userDrawn="1">
          <p15:clr>
            <a:srgbClr val="F26B43"/>
          </p15:clr>
        </p15:guide>
        <p15:guide id="6" pos="6371" userDrawn="1">
          <p15:clr>
            <a:srgbClr val="F26B43"/>
          </p15:clr>
        </p15:guide>
        <p15:guide id="8" pos="471" userDrawn="1">
          <p15:clr>
            <a:srgbClr val="F26B43"/>
          </p15:clr>
        </p15:guide>
        <p15:guide id="9" orient="horz" pos="144" userDrawn="1">
          <p15:clr>
            <a:srgbClr val="F26B43"/>
          </p15:clr>
        </p15:guide>
        <p15:guide id="10" orient="horz" pos="3367" userDrawn="1">
          <p15:clr>
            <a:srgbClr val="F26B43"/>
          </p15:clr>
        </p15:guide>
        <p15:guide id="11" orient="horz" pos="3281" userDrawn="1">
          <p15:clr>
            <a:srgbClr val="F26B43"/>
          </p15:clr>
        </p15:guide>
        <p15:guide id="12" orient="horz" pos="672" userDrawn="1">
          <p15:clr>
            <a:srgbClr val="F26B43"/>
          </p15:clr>
        </p15:guide>
        <p15:guide id="13" pos="6684" userDrawn="1">
          <p15:clr>
            <a:srgbClr val="F26B43"/>
          </p15:clr>
        </p15:guide>
        <p15:guide id="14" pos="390" userDrawn="1">
          <p15:clr>
            <a:srgbClr val="F26B43"/>
          </p15:clr>
        </p15:guide>
        <p15:guide id="15" pos="3422" userDrawn="1">
          <p15:clr>
            <a:srgbClr val="F26B43"/>
          </p15:clr>
        </p15:guide>
        <p15:guide id="16" orient="horz" pos="1980" userDrawn="1">
          <p15:clr>
            <a:srgbClr val="F26B43"/>
          </p15:clr>
        </p15:guide>
        <p15:guide id="17" pos="66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882588"/>
              </p:ext>
            </p:extLst>
          </p:nvPr>
        </p:nvGraphicFramePr>
        <p:xfrm>
          <a:off x="1420" y="-167153"/>
          <a:ext cx="1416" cy="1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0" y="-167153"/>
                        <a:ext cx="1416" cy="14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2395"/>
            <a:ext cx="10896214" cy="4723359"/>
          </a:xfrm>
          <a:prstGeom prst="rect">
            <a:avLst/>
          </a:prstGeom>
        </p:spPr>
      </p:pic>
      <p:cxnSp>
        <p:nvCxnSpPr>
          <p:cNvPr id="5" name="Straight Arrow Connector 4"/>
          <p:cNvCxnSpPr/>
          <p:nvPr/>
        </p:nvCxnSpPr>
        <p:spPr>
          <a:xfrm flipV="1">
            <a:off x="3103078" y="5344177"/>
            <a:ext cx="7352484" cy="30383"/>
          </a:xfrm>
          <a:prstGeom prst="straightConnector1">
            <a:avLst/>
          </a:prstGeom>
          <a:ln w="38100">
            <a:solidFill>
              <a:srgbClr val="A8A8A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822863" y="5385829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605" dirty="0"/>
              <a:t>Forecast horizon</a:t>
            </a:r>
            <a:endParaRPr lang="en-GB" sz="1605" dirty="0" err="1"/>
          </a:p>
        </p:txBody>
      </p:sp>
      <p:sp>
        <p:nvSpPr>
          <p:cNvPr id="11" name="TextBox 10"/>
          <p:cNvSpPr txBox="1"/>
          <p:nvPr/>
        </p:nvSpPr>
        <p:spPr>
          <a:xfrm>
            <a:off x="3989020" y="4755754"/>
            <a:ext cx="1894783" cy="449338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249" i="1" dirty="0"/>
              <a:t>3 </a:t>
            </a:r>
            <a:r>
              <a:rPr lang="nl-NL" sz="1249" i="1" dirty="0" err="1"/>
              <a:t>months</a:t>
            </a:r>
            <a:r>
              <a:rPr lang="nl-NL" sz="1249" i="1" dirty="0"/>
              <a:t> </a:t>
            </a:r>
          </a:p>
          <a:p>
            <a:pPr algn="ctr"/>
            <a:r>
              <a:rPr lang="nl-NL" sz="1249" i="1" dirty="0" err="1"/>
              <a:t>ahead</a:t>
            </a:r>
            <a:endParaRPr lang="en-GB" sz="1249" i="1" dirty="0" err="1"/>
          </a:p>
        </p:txBody>
      </p:sp>
      <p:sp>
        <p:nvSpPr>
          <p:cNvPr id="12" name="TextBox 11"/>
          <p:cNvSpPr txBox="1"/>
          <p:nvPr/>
        </p:nvSpPr>
        <p:spPr>
          <a:xfrm>
            <a:off x="6074188" y="4755754"/>
            <a:ext cx="1894783" cy="449338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249" i="1" dirty="0"/>
              <a:t>6 </a:t>
            </a:r>
            <a:r>
              <a:rPr lang="nl-NL" sz="1249" i="1" dirty="0" err="1"/>
              <a:t>months</a:t>
            </a:r>
            <a:r>
              <a:rPr lang="nl-NL" sz="1249" i="1" dirty="0"/>
              <a:t> </a:t>
            </a:r>
          </a:p>
          <a:p>
            <a:pPr algn="ctr"/>
            <a:r>
              <a:rPr lang="nl-NL" sz="1249" i="1" dirty="0" err="1"/>
              <a:t>ahead</a:t>
            </a:r>
            <a:endParaRPr lang="en-GB" sz="1249" i="1" dirty="0" err="1"/>
          </a:p>
        </p:txBody>
      </p:sp>
      <p:sp>
        <p:nvSpPr>
          <p:cNvPr id="13" name="TextBox 12"/>
          <p:cNvSpPr txBox="1"/>
          <p:nvPr/>
        </p:nvSpPr>
        <p:spPr>
          <a:xfrm>
            <a:off x="8135635" y="4755754"/>
            <a:ext cx="1894783" cy="449338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249" i="1" dirty="0"/>
              <a:t>9 </a:t>
            </a:r>
            <a:r>
              <a:rPr lang="nl-NL" sz="1249" i="1" dirty="0" err="1"/>
              <a:t>months</a:t>
            </a:r>
            <a:r>
              <a:rPr lang="nl-NL" sz="1249" i="1" dirty="0"/>
              <a:t> </a:t>
            </a:r>
          </a:p>
          <a:p>
            <a:pPr algn="ctr"/>
            <a:r>
              <a:rPr lang="nl-NL" sz="1249" i="1" dirty="0" err="1"/>
              <a:t>ahead</a:t>
            </a:r>
            <a:endParaRPr lang="en-GB" sz="1249" i="1" dirty="0" err="1"/>
          </a:p>
        </p:txBody>
      </p:sp>
      <p:cxnSp>
        <p:nvCxnSpPr>
          <p:cNvPr id="15" name="Straight Connector 14"/>
          <p:cNvCxnSpPr>
            <a:endCxn id="11" idx="0"/>
          </p:cNvCxnSpPr>
          <p:nvPr/>
        </p:nvCxnSpPr>
        <p:spPr>
          <a:xfrm>
            <a:off x="4936409" y="3849162"/>
            <a:ext cx="0" cy="906592"/>
          </a:xfrm>
          <a:prstGeom prst="line">
            <a:avLst/>
          </a:prstGeom>
          <a:ln>
            <a:solidFill>
              <a:srgbClr val="A8A8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endCxn id="12" idx="0"/>
          </p:cNvCxnSpPr>
          <p:nvPr/>
        </p:nvCxnSpPr>
        <p:spPr>
          <a:xfrm>
            <a:off x="7021577" y="3559052"/>
            <a:ext cx="0" cy="1196702"/>
          </a:xfrm>
          <a:prstGeom prst="line">
            <a:avLst/>
          </a:prstGeom>
          <a:ln>
            <a:solidFill>
              <a:srgbClr val="A8A8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endCxn id="13" idx="0"/>
          </p:cNvCxnSpPr>
          <p:nvPr/>
        </p:nvCxnSpPr>
        <p:spPr>
          <a:xfrm>
            <a:off x="9083024" y="3305208"/>
            <a:ext cx="0" cy="1450549"/>
          </a:xfrm>
          <a:prstGeom prst="line">
            <a:avLst/>
          </a:prstGeom>
          <a:ln>
            <a:solidFill>
              <a:srgbClr val="A8A8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887715" y="587920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605" dirty="0"/>
              <a:t>Training data</a:t>
            </a:r>
            <a:endParaRPr lang="en-GB" sz="1605" dirty="0" err="1"/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959492" y="938987"/>
            <a:ext cx="1606172" cy="9066"/>
          </a:xfrm>
          <a:prstGeom prst="straightConnector1">
            <a:avLst/>
          </a:prstGeom>
          <a:ln w="38100">
            <a:solidFill>
              <a:srgbClr val="A8A8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3103078" y="938987"/>
            <a:ext cx="1606172" cy="9066"/>
          </a:xfrm>
          <a:prstGeom prst="straightConnector1">
            <a:avLst/>
          </a:prstGeom>
          <a:ln w="38100">
            <a:solidFill>
              <a:srgbClr val="A8A8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 rot="16200000">
            <a:off x="1699340" y="2151107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605" dirty="0"/>
              <a:t>Forecast date</a:t>
            </a:r>
            <a:endParaRPr lang="en-GB" sz="1605" dirty="0" err="1"/>
          </a:p>
        </p:txBody>
      </p:sp>
      <p:sp>
        <p:nvSpPr>
          <p:cNvPr id="33" name="TextBox 32"/>
          <p:cNvSpPr txBox="1"/>
          <p:nvPr/>
        </p:nvSpPr>
        <p:spPr>
          <a:xfrm>
            <a:off x="2882973" y="587920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nl-NL" sz="1605" dirty="0" err="1"/>
              <a:t>Validation</a:t>
            </a:r>
            <a:r>
              <a:rPr lang="nl-NL" sz="1605" dirty="0"/>
              <a:t> data</a:t>
            </a:r>
            <a:endParaRPr lang="en-GB" sz="1605" dirty="0" err="1"/>
          </a:p>
        </p:txBody>
      </p:sp>
      <p:sp>
        <p:nvSpPr>
          <p:cNvPr id="36" name="TextBox 35"/>
          <p:cNvSpPr txBox="1"/>
          <p:nvPr/>
        </p:nvSpPr>
        <p:spPr>
          <a:xfrm>
            <a:off x="9705615" y="1358782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r>
              <a:rPr lang="nl-NL" sz="1605" b="1" dirty="0" err="1"/>
              <a:t>Actuals</a:t>
            </a:r>
            <a:endParaRPr lang="en-GB" sz="1605" b="1" dirty="0" err="1"/>
          </a:p>
        </p:txBody>
      </p:sp>
      <p:sp>
        <p:nvSpPr>
          <p:cNvPr id="37" name="TextBox 36"/>
          <p:cNvSpPr txBox="1"/>
          <p:nvPr/>
        </p:nvSpPr>
        <p:spPr>
          <a:xfrm>
            <a:off x="9705615" y="2853805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r>
              <a:rPr lang="nl-NL" sz="1605" b="1" dirty="0">
                <a:solidFill>
                  <a:schemeClr val="tx2"/>
                </a:solidFill>
              </a:rPr>
              <a:t>Forecast</a:t>
            </a:r>
            <a:endParaRPr lang="en-GB" sz="1605" b="1" dirty="0" err="1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188244" y="2550825"/>
            <a:ext cx="1894783" cy="311864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r>
              <a:rPr lang="nl-NL" sz="1605" b="1" dirty="0">
                <a:solidFill>
                  <a:schemeClr val="accent3"/>
                </a:solidFill>
              </a:rPr>
              <a:t>Forecast error</a:t>
            </a:r>
            <a:endParaRPr lang="en-GB" sz="1605" b="1" dirty="0" err="1">
              <a:solidFill>
                <a:schemeClr val="accent3"/>
              </a:solidFill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7021577" y="2063166"/>
            <a:ext cx="0" cy="1350826"/>
          </a:xfrm>
          <a:prstGeom prst="straightConnector1">
            <a:avLst/>
          </a:prstGeom>
          <a:ln w="28575">
            <a:solidFill>
              <a:schemeClr val="accent3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4930886" y="3046096"/>
            <a:ext cx="5528" cy="639100"/>
          </a:xfrm>
          <a:prstGeom prst="straightConnector1">
            <a:avLst/>
          </a:prstGeom>
          <a:ln w="28575">
            <a:solidFill>
              <a:schemeClr val="accent3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H="1">
            <a:off x="9083027" y="1981965"/>
            <a:ext cx="6799" cy="1193247"/>
          </a:xfrm>
          <a:prstGeom prst="straightConnector1">
            <a:avLst/>
          </a:prstGeom>
          <a:ln w="28575">
            <a:solidFill>
              <a:schemeClr val="accent3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908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G_PP_Template_16x9_April2017">
  <a:themeElements>
    <a:clrScheme name="ING 2016">
      <a:dk1>
        <a:srgbClr val="333333"/>
      </a:dk1>
      <a:lt1>
        <a:sysClr val="window" lastClr="FFFFFF"/>
      </a:lt1>
      <a:dk2>
        <a:srgbClr val="FF6200"/>
      </a:dk2>
      <a:lt2>
        <a:srgbClr val="696969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ING Orange">
      <a:srgbClr val="FF6200"/>
    </a:custClr>
    <a:custClr name="ING Light Grey">
      <a:srgbClr val="A8A8A8"/>
    </a:custClr>
    <a:custClr name="ING Mid Grey">
      <a:srgbClr val="696969"/>
    </a:custClr>
    <a:custClr name="ING Text color">
      <a:srgbClr val="333333"/>
    </a:custClr>
    <a:custClr name="ING Indigo">
      <a:srgbClr val="525199"/>
    </a:custClr>
    <a:custClr name="ING Sky">
      <a:srgbClr val="60A6DA"/>
    </a:custClr>
    <a:custClr name="ING Fuchsia">
      <a:srgbClr val="AB0066"/>
    </a:custClr>
    <a:custClr name="ING Lime">
      <a:srgbClr val="D0D93C"/>
    </a:custClr>
    <a:custClr name="ING Leaf / Plus">
      <a:srgbClr val="349651"/>
    </a:custClr>
    <a:custClr name="ING Minus">
      <a:srgbClr val="FF0000"/>
    </a:custClr>
  </a:custClrLst>
  <a:extLst>
    <a:ext uri="{05A4C25C-085E-4340-85A3-A5531E510DB2}">
      <thm15:themeFamily xmlns:thm15="http://schemas.microsoft.com/office/thememl/2012/main" name="01 Corporate template 16x9.potx" id="{B72F318C-4168-43A3-BD78-483577BCD89C}" vid="{8F52D876-317E-44FF-A1D4-F56E443EDAD3}"/>
    </a:ext>
  </a:extLst>
</a:theme>
</file>

<file path=ppt/theme/theme2.xml><?xml version="1.0" encoding="utf-8"?>
<a:theme xmlns:a="http://schemas.openxmlformats.org/drawingml/2006/main" name="Office Theme">
  <a:themeElements>
    <a:clrScheme name="ING 2016">
      <a:dk1>
        <a:srgbClr val="333333"/>
      </a:dk1>
      <a:lt1>
        <a:sysClr val="window" lastClr="FFFFFF"/>
      </a:lt1>
      <a:dk2>
        <a:srgbClr val="FF6200"/>
      </a:dk2>
      <a:lt2>
        <a:srgbClr val="696969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 Corporate template 16x9</Template>
  <TotalTime>128</TotalTime>
  <Words>21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ING Me</vt:lpstr>
      <vt:lpstr>ING_PP_Template_16x9_April2017</vt:lpstr>
      <vt:lpstr>think-cell Slide</vt:lpstr>
      <vt:lpstr>PowerPoint Presentation</vt:lpstr>
    </vt:vector>
  </TitlesOfParts>
  <Company>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s, G. van den (Gertjan)</dc:creator>
  <cp:keywords>16x9; Think Forward; External</cp:keywords>
  <dc:description>May 2017</dc:description>
  <cp:lastModifiedBy>Bos, G. van den (Gertjan)</cp:lastModifiedBy>
  <cp:revision>10</cp:revision>
  <dcterms:created xsi:type="dcterms:W3CDTF">2017-12-04T13:37:34Z</dcterms:created>
  <dcterms:modified xsi:type="dcterms:W3CDTF">2017-12-04T15:46:32Z</dcterms:modified>
  <cp:version>3</cp:version>
</cp:coreProperties>
</file>